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4" r:id="rId8"/>
    <p:sldId id="411" r:id="rId9"/>
    <p:sldId id="415" r:id="rId10"/>
    <p:sldId id="416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6B88361-440C-4F9F-BB67-A36FE9E9AF42}"/>
    <pc:docChg chg="modSld">
      <pc:chgData name="Meyer Raphael (PAR-ES)" userId="79615dfe-ed48-4e74-a40f-4f7b034c1c27" providerId="ADAL" clId="{A6B88361-440C-4F9F-BB67-A36FE9E9AF42}" dt="2023-02-24T13:28:12.699" v="50" actId="20577"/>
      <pc:docMkLst>
        <pc:docMk/>
      </pc:docMkLst>
      <pc:sldChg chg="modSp mod">
        <pc:chgData name="Meyer Raphael (PAR-ES)" userId="79615dfe-ed48-4e74-a40f-4f7b034c1c27" providerId="ADAL" clId="{A6B88361-440C-4F9F-BB67-A36FE9E9AF42}" dt="2023-02-24T13:27:58.050" v="42" actId="20577"/>
        <pc:sldMkLst>
          <pc:docMk/>
          <pc:sldMk cId="34638060" sldId="411"/>
        </pc:sldMkLst>
        <pc:spChg chg="mod">
          <ac:chgData name="Meyer Raphael (PAR-ES)" userId="79615dfe-ed48-4e74-a40f-4f7b034c1c27" providerId="ADAL" clId="{A6B88361-440C-4F9F-BB67-A36FE9E9AF42}" dt="2023-02-24T13:27:58.050" v="4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12.699" v="50" actId="20577"/>
        <pc:sldMkLst>
          <pc:docMk/>
          <pc:sldMk cId="3456073895" sldId="412"/>
        </pc:sldMkLst>
        <pc:spChg chg="mod">
          <ac:chgData name="Meyer Raphael (PAR-ES)" userId="79615dfe-ed48-4e74-a40f-4f7b034c1c27" providerId="ADAL" clId="{A6B88361-440C-4F9F-BB67-A36FE9E9AF42}" dt="2023-02-24T13:28:12.699" v="50" actId="20577"/>
          <ac:spMkLst>
            <pc:docMk/>
            <pc:sldMk cId="3456073895" sldId="412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06.594" v="49" actId="20577"/>
        <pc:sldMkLst>
          <pc:docMk/>
          <pc:sldMk cId="1058032750" sldId="413"/>
        </pc:sldMkLst>
        <pc:spChg chg="mod">
          <ac:chgData name="Meyer Raphael (PAR-ES)" userId="79615dfe-ed48-4e74-a40f-4f7b034c1c27" providerId="ADAL" clId="{A6B88361-440C-4F9F-BB67-A36FE9E9AF42}" dt="2023-02-24T13:28:06.594" v="49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82546BE-E1A9-4CF5-A90E-E5E5A10EE4C2}"/>
    <pc:docChg chg="addSld modSld sldOrd">
      <pc:chgData name="Weigel Stefan (PAR-EPS)" userId="fd3b2067-2981-4ad8-bf3a-d2e1004e4fa8" providerId="ADAL" clId="{F82546BE-E1A9-4CF5-A90E-E5E5A10EE4C2}" dt="2024-04-24T15:09:07.813" v="275" actId="14100"/>
      <pc:docMkLst>
        <pc:docMk/>
      </pc:docMkLst>
      <pc:sldChg chg="addSp modSp mod">
        <pc:chgData name="Weigel Stefan (PAR-EPS)" userId="fd3b2067-2981-4ad8-bf3a-d2e1004e4fa8" providerId="ADAL" clId="{F82546BE-E1A9-4CF5-A90E-E5E5A10EE4C2}" dt="2024-04-24T15:03:16.745" v="243" actId="554"/>
        <pc:sldMkLst>
          <pc:docMk/>
          <pc:sldMk cId="34638060" sldId="411"/>
        </pc:sldMkLst>
        <pc:spChg chg="add mod">
          <ac:chgData name="Weigel Stefan (PAR-EPS)" userId="fd3b2067-2981-4ad8-bf3a-d2e1004e4fa8" providerId="ADAL" clId="{F82546BE-E1A9-4CF5-A90E-E5E5A10EE4C2}" dt="2024-04-24T14:59:47.335" v="96" actId="20577"/>
          <ac:spMkLst>
            <pc:docMk/>
            <pc:sldMk cId="34638060" sldId="411"/>
            <ac:spMk id="3" creationId="{25308751-8444-BDC0-0569-ED7BE91F177D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5:11.925" v="54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05.119" v="52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15.858" v="55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9:07.813" v="275" actId="14100"/>
        <pc:sldMkLst>
          <pc:docMk/>
          <pc:sldMk cId="4208520709" sldId="414"/>
        </pc:sldMkLst>
        <pc:spChg chg="add mod">
          <ac:chgData name="Weigel Stefan (PAR-EPS)" userId="fd3b2067-2981-4ad8-bf3a-d2e1004e4fa8" providerId="ADAL" clId="{F82546BE-E1A9-4CF5-A90E-E5E5A10EE4C2}" dt="2024-04-24T14:59:58.788" v="106" actId="20577"/>
          <ac:spMkLst>
            <pc:docMk/>
            <pc:sldMk cId="4208520709" sldId="414"/>
            <ac:spMk id="3" creationId="{5E966966-2743-4720-D8DC-624FE395B867}"/>
          </ac:spMkLst>
        </pc:spChg>
        <pc:spChg chg="mod">
          <ac:chgData name="Weigel Stefan (PAR-EPS)" userId="fd3b2067-2981-4ad8-bf3a-d2e1004e4fa8" providerId="ADAL" clId="{F82546BE-E1A9-4CF5-A90E-E5E5A10EE4C2}" dt="2024-04-24T15:09:07.813" v="275" actId="14100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00.207" v="241" actId="3064"/>
          <ac:spMkLst>
            <pc:docMk/>
            <pc:sldMk cId="4208520709" sldId="414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54.774" v="49" actId="207"/>
          <ac:graphicFrameMkLst>
            <pc:docMk/>
            <pc:sldMk cId="4208520709" sldId="414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48.861" v="47" actId="207"/>
          <ac:graphicFrameMkLst>
            <pc:docMk/>
            <pc:sldMk cId="4208520709" sldId="414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57.889" v="50" actId="207"/>
          <ac:graphicFrameMkLst>
            <pc:docMk/>
            <pc:sldMk cId="4208520709" sldId="414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2:43.117" v="239" actId="554"/>
        <pc:sldMkLst>
          <pc:docMk/>
          <pc:sldMk cId="1649911066" sldId="415"/>
        </pc:sldMkLst>
        <pc:spChg chg="add mod">
          <ac:chgData name="Weigel Stefan (PAR-EPS)" userId="fd3b2067-2981-4ad8-bf3a-d2e1004e4fa8" providerId="ADAL" clId="{F82546BE-E1A9-4CF5-A90E-E5E5A10EE4C2}" dt="2024-04-24T15:00:17.747" v="118" actId="20577"/>
          <ac:spMkLst>
            <pc:docMk/>
            <pc:sldMk cId="1649911066" sldId="415"/>
            <ac:spMk id="3" creationId="{35F8491F-A881-B7C3-B209-6CF1D0B171FD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32.274" v="44" actId="207"/>
          <ac:graphicFrameMkLst>
            <pc:docMk/>
            <pc:sldMk cId="1649911066" sldId="415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25.304" v="42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38.523" v="45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  <pc:sldChg chg="addSp modSp add mod ord setBg">
        <pc:chgData name="Weigel Stefan (PAR-EPS)" userId="fd3b2067-2981-4ad8-bf3a-d2e1004e4fa8" providerId="ADAL" clId="{F82546BE-E1A9-4CF5-A90E-E5E5A10EE4C2}" dt="2024-04-24T15:05:11.774" v="268" actId="790"/>
        <pc:sldMkLst>
          <pc:docMk/>
          <pc:sldMk cId="2714500943" sldId="416"/>
        </pc:sldMkLst>
        <pc:spChg chg="mod">
          <ac:chgData name="Weigel Stefan (PAR-EPS)" userId="fd3b2067-2981-4ad8-bf3a-d2e1004e4fa8" providerId="ADAL" clId="{F82546BE-E1A9-4CF5-A90E-E5E5A10EE4C2}" dt="2024-04-24T14:57:46.577" v="67"/>
          <ac:spMkLst>
            <pc:docMk/>
            <pc:sldMk cId="2714500943" sldId="416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F82546BE-E1A9-4CF5-A90E-E5E5A10EE4C2}" dt="2024-04-24T15:05:11.774" v="268" actId="790"/>
          <ac:spMkLst>
            <pc:docMk/>
            <pc:sldMk cId="2714500943" sldId="416"/>
            <ac:spMk id="3" creationId="{5A5D9DB9-DC37-9823-9C49-37175A640C19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11" creationId="{F5A97D64-AAB4-4FCE-830E-2F220CB83B05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00367206-F21A-42A2-9F43-57359FB56595}"/>
    <pc:docChg chg="modSld">
      <pc:chgData name="Weigel Stefan (PAR-EPS)" userId="fd3b2067-2981-4ad8-bf3a-d2e1004e4fa8" providerId="ADAL" clId="{00367206-F21A-42A2-9F43-57359FB56595}" dt="2025-02-24T09:36:58.630" v="208" actId="27918"/>
      <pc:docMkLst>
        <pc:docMk/>
      </pc:docMkLst>
      <pc:sldChg chg="modSp mod">
        <pc:chgData name="Weigel Stefan (PAR-EPS)" userId="fd3b2067-2981-4ad8-bf3a-d2e1004e4fa8" providerId="ADAL" clId="{00367206-F21A-42A2-9F43-57359FB56595}" dt="2025-02-24T09:34:44.664" v="161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0367206-F21A-42A2-9F43-57359FB56595}" dt="2025-02-14T18:07:08.573" v="1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2:34.012" v="132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0367206-F21A-42A2-9F43-57359FB56595}" dt="2025-02-14T18:07:13.026" v="14" actId="20577"/>
          <ac:spMkLst>
            <pc:docMk/>
            <pc:sldMk cId="4208520709" sldId="414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5:56.294" v="185" actId="27918"/>
        <pc:sldMkLst>
          <pc:docMk/>
          <pc:sldMk cId="1649911066" sldId="415"/>
        </pc:sldMkLst>
        <pc:spChg chg="mod">
          <ac:chgData name="Weigel Stefan (PAR-EPS)" userId="fd3b2067-2981-4ad8-bf3a-d2e1004e4fa8" providerId="ADAL" clId="{00367206-F21A-42A2-9F43-57359FB56595}" dt="2025-02-14T18:07:57.344" v="25" actId="20577"/>
          <ac:spMkLst>
            <pc:docMk/>
            <pc:sldMk cId="1649911066" sldId="415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6:58.630" v="208" actId="27918"/>
        <pc:sldMkLst>
          <pc:docMk/>
          <pc:sldMk cId="2714500943" sldId="416"/>
        </pc:sldMkLst>
        <pc:spChg chg="mod">
          <ac:chgData name="Weigel Stefan (PAR-EPS)" userId="fd3b2067-2981-4ad8-bf3a-d2e1004e4fa8" providerId="ADAL" clId="{00367206-F21A-42A2-9F43-57359FB56595}" dt="2025-02-14T18:08:44.612" v="36" actId="20577"/>
          <ac:spMkLst>
            <pc:docMk/>
            <pc:sldMk cId="2714500943" sldId="416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6D4CF8F6-66AB-4DF5-B318-37FE7B294887}"/>
    <pc:docChg chg="delSld">
      <pc:chgData name="Weigel Stefan (PAR-ES)" userId="fd3b2067-2981-4ad8-bf3a-d2e1004e4fa8" providerId="ADAL" clId="{6D4CF8F6-66AB-4DF5-B318-37FE7B294887}" dt="2022-03-10T09:41:48.982" v="0" actId="2696"/>
      <pc:docMkLst>
        <pc:docMk/>
      </pc:docMkLst>
      <pc:sldChg chg="del">
        <pc:chgData name="Weigel Stefan (PAR-ES)" userId="fd3b2067-2981-4ad8-bf3a-d2e1004e4fa8" providerId="ADAL" clId="{6D4CF8F6-66AB-4DF5-B318-37FE7B294887}" dt="2022-03-10T09:41:48.982" v="0" actId="2696"/>
        <pc:sldMkLst>
          <pc:docMk/>
          <pc:sldMk cId="2144688994" sldId="410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S)" userId="S::stefan.weigel@sbb.ch::fd3b2067-2981-4ad8-bf3a-d2e1004e4fa8" providerId="AD" clId="Web-{6A4E46EB-4EFD-1E1A-7645-5BC5AEEE0566}"/>
    <pc:docChg chg="modSld">
      <pc:chgData name="Weigel Stefan (PAR-ES)" userId="S::stefan.weigel@sbb.ch::fd3b2067-2981-4ad8-bf3a-d2e1004e4fa8" providerId="AD" clId="Web-{6A4E46EB-4EFD-1E1A-7645-5BC5AEEE0566}" dt="2022-03-10T09:42:29.070" v="1" actId="20577"/>
      <pc:docMkLst>
        <pc:docMk/>
      </pc:docMkLst>
      <pc:sldChg chg="modSp">
        <pc:chgData name="Weigel Stefan (PAR-ES)" userId="S::stefan.weigel@sbb.ch::fd3b2067-2981-4ad8-bf3a-d2e1004e4fa8" providerId="AD" clId="Web-{6A4E46EB-4EFD-1E1A-7645-5BC5AEEE0566}" dt="2022-03-10T09:42:29.070" v="1" actId="20577"/>
        <pc:sldMkLst>
          <pc:docMk/>
          <pc:sldMk cId="1058032750" sldId="413"/>
        </pc:sldMkLst>
        <pc:spChg chg="mod">
          <ac:chgData name="Weigel Stefan (PAR-ES)" userId="S::stefan.weigel@sbb.ch::fd3b2067-2981-4ad8-bf3a-d2e1004e4fa8" providerId="AD" clId="Web-{6A4E46EB-4EFD-1E1A-7645-5BC5AEEE0566}" dt="2022-03-10T09:42:29.070" v="1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3B74A29-DD6B-4C14-AFFE-5DE820EEF751}"/>
    <pc:docChg chg="addSld delSld modSld sldOrd">
      <pc:chgData name="Weigel Stefan (PAR-EPS)" userId="fd3b2067-2981-4ad8-bf3a-d2e1004e4fa8" providerId="ADAL" clId="{03B74A29-DD6B-4C14-AFFE-5DE820EEF751}" dt="2024-02-28T12:13:20.052" v="178" actId="27918"/>
      <pc:docMkLst>
        <pc:docMk/>
      </pc:docMkLst>
      <pc:sldChg chg="modSp mod">
        <pc:chgData name="Weigel Stefan (PAR-EPS)" userId="fd3b2067-2981-4ad8-bf3a-d2e1004e4fa8" providerId="ADAL" clId="{03B74A29-DD6B-4C14-AFFE-5DE820EEF751}" dt="2024-02-28T12:10:07.918" v="174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3B74A29-DD6B-4C14-AFFE-5DE820EEF751}" dt="2024-02-28T10:04:01.260" v="76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50.146" v="105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8:16.350" v="137" actId="1036"/>
          <ac:spMkLst>
            <pc:docMk/>
            <pc:sldMk cId="34638060" sldId="411"/>
            <ac:spMk id="11" creationId="{F5A97D64-AAB4-4FCE-830E-2F220CB83B05}"/>
          </ac:spMkLst>
        </pc:spChg>
      </pc:sldChg>
      <pc:sldChg chg="del">
        <pc:chgData name="Weigel Stefan (PAR-EPS)" userId="fd3b2067-2981-4ad8-bf3a-d2e1004e4fa8" providerId="ADAL" clId="{03B74A29-DD6B-4C14-AFFE-5DE820EEF751}" dt="2024-02-28T10:08:38.410" v="138" actId="2696"/>
        <pc:sldMkLst>
          <pc:docMk/>
          <pc:sldMk cId="3456073895" sldId="412"/>
        </pc:sldMkLst>
      </pc:sldChg>
      <pc:sldChg chg="del">
        <pc:chgData name="Weigel Stefan (PAR-EPS)" userId="fd3b2067-2981-4ad8-bf3a-d2e1004e4fa8" providerId="ADAL" clId="{03B74A29-DD6B-4C14-AFFE-5DE820EEF751}" dt="2024-02-28T10:10:53.469" v="160" actId="47"/>
        <pc:sldMkLst>
          <pc:docMk/>
          <pc:sldMk cId="1058032750" sldId="413"/>
        </pc:sldMkLst>
      </pc:sldChg>
      <pc:sldChg chg="modSp add mod">
        <pc:chgData name="Weigel Stefan (PAR-EPS)" userId="fd3b2067-2981-4ad8-bf3a-d2e1004e4fa8" providerId="ADAL" clId="{03B74A29-DD6B-4C14-AFFE-5DE820EEF751}" dt="2024-02-28T12:13:20.052" v="178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3B74A29-DD6B-4C14-AFFE-5DE820EEF751}" dt="2024-02-28T10:04:19.176" v="80" actId="20577"/>
          <ac:spMkLst>
            <pc:docMk/>
            <pc:sldMk cId="420852070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34.356" v="84" actId="554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7:58.545" v="127" actId="1036"/>
          <ac:spMkLst>
            <pc:docMk/>
            <pc:sldMk cId="4208520709" sldId="414"/>
            <ac:spMk id="11" creationId="{F5A97D64-AAB4-4FCE-830E-2F220CB83B05}"/>
          </ac:spMkLst>
        </pc:spChg>
      </pc:sldChg>
      <pc:sldChg chg="modSp add mod ord">
        <pc:chgData name="Weigel Stefan (PAR-EPS)" userId="fd3b2067-2981-4ad8-bf3a-d2e1004e4fa8" providerId="ADAL" clId="{03B74A29-DD6B-4C14-AFFE-5DE820EEF751}" dt="2024-02-28T10:32:46.504" v="163" actId="207"/>
        <pc:sldMkLst>
          <pc:docMk/>
          <pc:sldMk cId="1649911066" sldId="415"/>
        </pc:sldMkLst>
        <pc:spChg chg="mod">
          <ac:chgData name="Weigel Stefan (PAR-EPS)" userId="fd3b2067-2981-4ad8-bf3a-d2e1004e4fa8" providerId="ADAL" clId="{03B74A29-DD6B-4C14-AFFE-5DE820EEF751}" dt="2024-02-28T10:08:57.141" v="144" actId="20577"/>
          <ac:spMkLst>
            <pc:docMk/>
            <pc:sldMk cId="1649911066" sldId="41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9:04.879" v="145"/>
          <ac:spMkLst>
            <pc:docMk/>
            <pc:sldMk cId="1649911066" sldId="415"/>
            <ac:spMk id="5" creationId="{00000000-0000-0000-0000-000000000000}"/>
          </ac:spMkLst>
        </pc:spChg>
        <pc:graphicFrameChg chg="mod">
          <ac:chgData name="Weigel Stefan (PAR-EPS)" userId="fd3b2067-2981-4ad8-bf3a-d2e1004e4fa8" providerId="ADAL" clId="{03B74A29-DD6B-4C14-AFFE-5DE820EEF751}" dt="2024-02-28T10:32:46.504" v="163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3B74A29-DD6B-4C14-AFFE-5DE820EEF751}" dt="2024-02-28T10:10:47.136" v="159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92236357241072509</c:v>
                </c:pt>
                <c:pt idx="2">
                  <c:v>4.6935442575205002</c:v>
                </c:pt>
                <c:pt idx="3">
                  <c:v>10.002417927056701</c:v>
                </c:pt>
                <c:pt idx="4">
                  <c:v>7.7104541007122993</c:v>
                </c:pt>
                <c:pt idx="5">
                  <c:v>5.2252482682371193</c:v>
                </c:pt>
                <c:pt idx="6">
                  <c:v>4.17205795149534</c:v>
                </c:pt>
                <c:pt idx="7">
                  <c:v>4.4567129808519903</c:v>
                </c:pt>
                <c:pt idx="8">
                  <c:v>4.4927167013626796</c:v>
                </c:pt>
                <c:pt idx="9">
                  <c:v>4.4409984243210205</c:v>
                </c:pt>
                <c:pt idx="10">
                  <c:v>4.65048962645335</c:v>
                </c:pt>
                <c:pt idx="11">
                  <c:v>5.5988789723620505</c:v>
                </c:pt>
                <c:pt idx="12">
                  <c:v>8.0883279756532698</c:v>
                </c:pt>
                <c:pt idx="13">
                  <c:v>10.8091592900133</c:v>
                </c:pt>
                <c:pt idx="14">
                  <c:v>8.6908641686999388</c:v>
                </c:pt>
                <c:pt idx="15">
                  <c:v>5.6511621342851006</c:v>
                </c:pt>
                <c:pt idx="16">
                  <c:v>3.6398549709421197</c:v>
                </c:pt>
                <c:pt idx="17">
                  <c:v>2.36426609203916</c:v>
                </c:pt>
                <c:pt idx="18">
                  <c:v>1.97773687233883</c:v>
                </c:pt>
                <c:pt idx="19">
                  <c:v>1.4418331997127098</c:v>
                </c:pt>
                <c:pt idx="20">
                  <c:v>0.52700660562428592</c:v>
                </c:pt>
                <c:pt idx="21">
                  <c:v>0.176503417825326</c:v>
                </c:pt>
                <c:pt idx="22">
                  <c:v>5.6635819932210105E-2</c:v>
                </c:pt>
                <c:pt idx="23">
                  <c:v>0.11750220914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9824625660355</c:v>
                </c:pt>
                <c:pt idx="2">
                  <c:v>5.3834569297532102</c:v>
                </c:pt>
                <c:pt idx="3">
                  <c:v>12.0282203524223</c:v>
                </c:pt>
                <c:pt idx="4">
                  <c:v>7.7933180946794396</c:v>
                </c:pt>
                <c:pt idx="5">
                  <c:v>4.1871062545918107</c:v>
                </c:pt>
                <c:pt idx="6">
                  <c:v>3.22808992416225</c:v>
                </c:pt>
                <c:pt idx="7">
                  <c:v>3.4886830717341</c:v>
                </c:pt>
                <c:pt idx="8">
                  <c:v>4.4208085230861496</c:v>
                </c:pt>
                <c:pt idx="9">
                  <c:v>4.1039090150173401</c:v>
                </c:pt>
                <c:pt idx="10">
                  <c:v>4.1153930081621404</c:v>
                </c:pt>
                <c:pt idx="11">
                  <c:v>5.1457529184064006</c:v>
                </c:pt>
                <c:pt idx="12">
                  <c:v>9.09208901714611</c:v>
                </c:pt>
                <c:pt idx="13">
                  <c:v>11.1321452168349</c:v>
                </c:pt>
                <c:pt idx="14">
                  <c:v>8.4796022254642409</c:v>
                </c:pt>
                <c:pt idx="15">
                  <c:v>5.2709022733675299</c:v>
                </c:pt>
                <c:pt idx="16">
                  <c:v>3.1246134853093799</c:v>
                </c:pt>
                <c:pt idx="17">
                  <c:v>2.5510859197743998</c:v>
                </c:pt>
                <c:pt idx="18">
                  <c:v>2.4357704302212397</c:v>
                </c:pt>
                <c:pt idx="19">
                  <c:v>1.8088689467575298</c:v>
                </c:pt>
                <c:pt idx="20">
                  <c:v>0.79613413010361489</c:v>
                </c:pt>
                <c:pt idx="21">
                  <c:v>2.9062371438137398E-2</c:v>
                </c:pt>
                <c:pt idx="22">
                  <c:v>1.65517507844726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2387061345568202</c:v>
                </c:pt>
                <c:pt idx="1">
                  <c:v>1.1519533433975901</c:v>
                </c:pt>
                <c:pt idx="2">
                  <c:v>1.7695899932354899</c:v>
                </c:pt>
                <c:pt idx="3">
                  <c:v>2.5754900102695801</c:v>
                </c:pt>
                <c:pt idx="4">
                  <c:v>3.4597963996496404</c:v>
                </c:pt>
                <c:pt idx="5">
                  <c:v>4.7545350574963408</c:v>
                </c:pt>
                <c:pt idx="6">
                  <c:v>5.6483712080796202</c:v>
                </c:pt>
                <c:pt idx="7">
                  <c:v>6.2998280924598093</c:v>
                </c:pt>
                <c:pt idx="8">
                  <c:v>6.0220595551795402</c:v>
                </c:pt>
                <c:pt idx="9">
                  <c:v>5.9611080265440002</c:v>
                </c:pt>
                <c:pt idx="10">
                  <c:v>6.4934649457489293</c:v>
                </c:pt>
                <c:pt idx="11">
                  <c:v>7.4322899987606394</c:v>
                </c:pt>
                <c:pt idx="12">
                  <c:v>8.2622588570414006</c:v>
                </c:pt>
                <c:pt idx="13">
                  <c:v>8.9574886222840906</c:v>
                </c:pt>
                <c:pt idx="14">
                  <c:v>7.6674016432547205</c:v>
                </c:pt>
                <c:pt idx="15">
                  <c:v>7.1342529280200004</c:v>
                </c:pt>
                <c:pt idx="16">
                  <c:v>6.2345355153938495</c:v>
                </c:pt>
                <c:pt idx="17">
                  <c:v>3.89142985093694</c:v>
                </c:pt>
                <c:pt idx="18">
                  <c:v>2.8610881425799097</c:v>
                </c:pt>
                <c:pt idx="19">
                  <c:v>1.6784330536831</c:v>
                </c:pt>
                <c:pt idx="20">
                  <c:v>0.65623770013272109</c:v>
                </c:pt>
                <c:pt idx="21">
                  <c:v>0.35060957238166901</c:v>
                </c:pt>
                <c:pt idx="22">
                  <c:v>0.318122259535633</c:v>
                </c:pt>
                <c:pt idx="23">
                  <c:v>0.195784610479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1679539755519397</c:v>
                </c:pt>
                <c:pt idx="2">
                  <c:v>2.92309088923975</c:v>
                </c:pt>
                <c:pt idx="3">
                  <c:v>6.1955852232725599</c:v>
                </c:pt>
                <c:pt idx="4">
                  <c:v>4.7342090020426495</c:v>
                </c:pt>
                <c:pt idx="5">
                  <c:v>8.1728489411697591</c:v>
                </c:pt>
                <c:pt idx="6">
                  <c:v>6.4379146878158604</c:v>
                </c:pt>
                <c:pt idx="7">
                  <c:v>7.8540790831723895</c:v>
                </c:pt>
                <c:pt idx="8">
                  <c:v>6.5239199879713494</c:v>
                </c:pt>
                <c:pt idx="9">
                  <c:v>7.2431753732448003</c:v>
                </c:pt>
                <c:pt idx="10">
                  <c:v>5.85931859426735</c:v>
                </c:pt>
                <c:pt idx="11">
                  <c:v>8.5194345899053197</c:v>
                </c:pt>
                <c:pt idx="12">
                  <c:v>6.2710054787998599</c:v>
                </c:pt>
                <c:pt idx="13">
                  <c:v>10.292941495035599</c:v>
                </c:pt>
                <c:pt idx="14">
                  <c:v>5.1208443108059196</c:v>
                </c:pt>
                <c:pt idx="15">
                  <c:v>7.1797114269914406</c:v>
                </c:pt>
                <c:pt idx="16">
                  <c:v>2.7441207540559303</c:v>
                </c:pt>
                <c:pt idx="17">
                  <c:v>2.51391396785638</c:v>
                </c:pt>
                <c:pt idx="18">
                  <c:v>0.60521296701469296</c:v>
                </c:pt>
                <c:pt idx="19">
                  <c:v>0.36732811307826796</c:v>
                </c:pt>
                <c:pt idx="20">
                  <c:v>0.17503959732301799</c:v>
                </c:pt>
                <c:pt idx="21">
                  <c:v>4.9510119381930499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51117032455119</c:v>
                </c:pt>
                <c:pt idx="2">
                  <c:v>5.9573142855390699</c:v>
                </c:pt>
                <c:pt idx="3">
                  <c:v>14.267158172050701</c:v>
                </c:pt>
                <c:pt idx="4">
                  <c:v>6.8426562451388397</c:v>
                </c:pt>
                <c:pt idx="5">
                  <c:v>3.9660145813529004</c:v>
                </c:pt>
                <c:pt idx="6">
                  <c:v>3.6964010563276299</c:v>
                </c:pt>
                <c:pt idx="7">
                  <c:v>3.8239675194217697</c:v>
                </c:pt>
                <c:pt idx="8">
                  <c:v>4.5774463100401199</c:v>
                </c:pt>
                <c:pt idx="9">
                  <c:v>4.0890037902843002</c:v>
                </c:pt>
                <c:pt idx="10">
                  <c:v>4.1626069156040497</c:v>
                </c:pt>
                <c:pt idx="11">
                  <c:v>5.9699384268029601</c:v>
                </c:pt>
                <c:pt idx="12">
                  <c:v>10.003530014143699</c:v>
                </c:pt>
                <c:pt idx="13">
                  <c:v>10.905166363714699</c:v>
                </c:pt>
                <c:pt idx="14">
                  <c:v>6.5067663599935699</c:v>
                </c:pt>
                <c:pt idx="15">
                  <c:v>3.6766021535696103</c:v>
                </c:pt>
                <c:pt idx="16">
                  <c:v>2.6614644115554298</c:v>
                </c:pt>
                <c:pt idx="17">
                  <c:v>2.28288152862293</c:v>
                </c:pt>
                <c:pt idx="18">
                  <c:v>2.00471991340412</c:v>
                </c:pt>
                <c:pt idx="19">
                  <c:v>1.5369239063807401</c:v>
                </c:pt>
                <c:pt idx="20">
                  <c:v>0.89202204704593391</c:v>
                </c:pt>
                <c:pt idx="21">
                  <c:v>0.10385415188705401</c:v>
                </c:pt>
                <c:pt idx="22">
                  <c:v>8.8703920431616609E-2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9726588581442698</c:v>
                </c:pt>
                <c:pt idx="1">
                  <c:v>0.60264476906654096</c:v>
                </c:pt>
                <c:pt idx="2">
                  <c:v>0.80609586756269502</c:v>
                </c:pt>
                <c:pt idx="3">
                  <c:v>2.4300047036482999</c:v>
                </c:pt>
                <c:pt idx="4">
                  <c:v>2.8378474975124601</c:v>
                </c:pt>
                <c:pt idx="5">
                  <c:v>5.7904336246499506</c:v>
                </c:pt>
                <c:pt idx="6">
                  <c:v>5.5217932096704896</c:v>
                </c:pt>
                <c:pt idx="7">
                  <c:v>7.2698162657829899</c:v>
                </c:pt>
                <c:pt idx="8">
                  <c:v>6.4454317462547994</c:v>
                </c:pt>
                <c:pt idx="9">
                  <c:v>7.0986788049698601</c:v>
                </c:pt>
                <c:pt idx="10">
                  <c:v>6.7425242725626306</c:v>
                </c:pt>
                <c:pt idx="11">
                  <c:v>9.8850319713142802</c:v>
                </c:pt>
                <c:pt idx="12">
                  <c:v>8.1364756291569602</c:v>
                </c:pt>
                <c:pt idx="13">
                  <c:v>10.470721403638899</c:v>
                </c:pt>
                <c:pt idx="14">
                  <c:v>6.6105926742607197</c:v>
                </c:pt>
                <c:pt idx="15">
                  <c:v>8.9281631314480308</c:v>
                </c:pt>
                <c:pt idx="16">
                  <c:v>4.8127265416166001</c:v>
                </c:pt>
                <c:pt idx="17">
                  <c:v>2.9757094321620601</c:v>
                </c:pt>
                <c:pt idx="18">
                  <c:v>1.04160324668196</c:v>
                </c:pt>
                <c:pt idx="19">
                  <c:v>0.64050312102582307</c:v>
                </c:pt>
                <c:pt idx="20">
                  <c:v>0.19613786303275399</c:v>
                </c:pt>
                <c:pt idx="21">
                  <c:v>5.6114076149416797E-2</c:v>
                </c:pt>
                <c:pt idx="22">
                  <c:v>7.2478168153475497E-3</c:v>
                </c:pt>
                <c:pt idx="23">
                  <c:v>0.3964364452020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499719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71379259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126107535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92057556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884902303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10161676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739020145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22250976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531124816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95349920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ürich HB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068654666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34926195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rich main station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B9B344-D570-4C65-BCDB-2E75DEF797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2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assagers au cours de la journée en 2024.</vt:lpstr>
      <vt:lpstr>Zugpassagiere im Tagesablauf im 2024.</vt:lpstr>
      <vt:lpstr>Passeggeri nell’arco della giornata nel 2024.</vt:lpstr>
      <vt:lpstr>Hourly distribution of train passengers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ssagers au cours de la journée en 2024.</dc:title>
  <dc:creator>Meyer Raphael (KOM-PGA-VSF)</dc:creator>
  <cp:lastModifiedBy>Stefan Weigel (PAR-EPS)</cp:lastModifiedBy>
  <cp:revision>63</cp:revision>
  <dcterms:created xsi:type="dcterms:W3CDTF">2020-09-30T11:00:09Z</dcterms:created>
  <dcterms:modified xsi:type="dcterms:W3CDTF">2025-02-24T13:0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